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7" r:id="rId2"/>
    <p:sldId id="25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58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4FD71B-E960-4BE4-B463-A12BB7700A42}" type="datetimeFigureOut">
              <a:rPr lang="en-US" smtClean="0"/>
              <a:pPr/>
              <a:t>6/21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4D0BD1B2-E47F-8AC7-B035-2720DE527CDB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near High-Temperature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6974" y="2893689"/>
            <a:ext cx="5260118" cy="704566"/>
          </a:xfrm>
          <a:prstGeom prst="rect">
            <a:avLst/>
          </a:prstGeom>
        </p:spPr>
      </p:pic>
      <p:sp>
        <p:nvSpPr>
          <p:cNvPr id="23" name="Untertitel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412051" y="1763726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8218392" y="3002360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412051" y="4520997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97326" y="4520996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862" y="4090887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1154" y="3979638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066" y="1787540"/>
            <a:ext cx="6875428" cy="3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</Words>
  <Application>Microsoft Office PowerPoint</Application>
  <PresentationFormat>Widescreen</PresentationFormat>
  <Paragraphs>1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hias Pawlik</dc:creator>
  <cp:lastModifiedBy>Matthias Pawlik</cp:lastModifiedBy>
  <cp:revision>8</cp:revision>
  <dcterms:created xsi:type="dcterms:W3CDTF">2025-06-15T15:29:23Z</dcterms:created>
  <dcterms:modified xsi:type="dcterms:W3CDTF">2025-06-21T17:27:58Z</dcterms:modified>
</cp:coreProperties>
</file>